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17"/>
  </p:notesMasterIdLst>
  <p:sldIdLst>
    <p:sldId id="294" r:id="rId2"/>
    <p:sldId id="257" r:id="rId3"/>
    <p:sldId id="258" r:id="rId4"/>
    <p:sldId id="290" r:id="rId5"/>
    <p:sldId id="302" r:id="rId6"/>
    <p:sldId id="303" r:id="rId7"/>
    <p:sldId id="295" r:id="rId8"/>
    <p:sldId id="296" r:id="rId9"/>
    <p:sldId id="298" r:id="rId10"/>
    <p:sldId id="299" r:id="rId11"/>
    <p:sldId id="300" r:id="rId12"/>
    <p:sldId id="301" r:id="rId13"/>
    <p:sldId id="292" r:id="rId14"/>
    <p:sldId id="289" r:id="rId15"/>
    <p:sldId id="297" r:id="rId16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j45322" initials="v" lastIdx="1" clrIdx="0">
    <p:extLst>
      <p:ext uri="{19B8F6BF-5375-455C-9EA6-DF929625EA0E}">
        <p15:presenceInfo xmlns:p15="http://schemas.microsoft.com/office/powerpoint/2012/main" userId="vaj45322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5" autoAdjust="0"/>
    <p:restoredTop sz="96713" autoAdjust="0"/>
  </p:normalViewPr>
  <p:slideViewPr>
    <p:cSldViewPr snapToGrid="0">
      <p:cViewPr varScale="1">
        <p:scale>
          <a:sx n="65" d="100"/>
          <a:sy n="65" d="100"/>
        </p:scale>
        <p:origin x="53" y="54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35532-E520-45DB-B758-9A2061812C2C}" type="datetimeFigureOut">
              <a:rPr lang="en-US" smtClean="0"/>
              <a:t>11/1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A4AF-CCD2-433A-B3E5-77E1BA35AA0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46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3CA4AF-CCD2-433A-B3E5-77E1BA35AA0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6700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3CA4AF-CCD2-433A-B3E5-77E1BA35AA0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538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3CA4AF-CCD2-433A-B3E5-77E1BA35AA0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516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F7D5A-F825-4011-893E-D04AC3A358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14379"/>
            <a:ext cx="9144000" cy="1714481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881DB6-53EB-42E5-AC2B-F98C90D574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873636"/>
            <a:ext cx="8359140" cy="1981195"/>
          </a:xfrm>
        </p:spPr>
        <p:txBody>
          <a:bodyPr/>
          <a:lstStyle>
            <a:lvl1pPr marL="0" indent="0" algn="ctr">
              <a:buNone/>
              <a:defRPr lang="de-DE" sz="2400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F907A-2888-41DF-8275-2A2B19FF2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E3E8D23-F272-41C6-BE0D-42A7C92B6B5B}"/>
              </a:ext>
            </a:extLst>
          </p:cNvPr>
          <p:cNvCxnSpPr>
            <a:cxnSpLocks/>
          </p:cNvCxnSpPr>
          <p:nvPr userDrawn="1"/>
        </p:nvCxnSpPr>
        <p:spPr>
          <a:xfrm>
            <a:off x="1524000" y="3628860"/>
            <a:ext cx="9144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CD0C50DE-8D0C-41C0-BFFF-FE308CA8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38260" y="5006994"/>
            <a:ext cx="3146545" cy="171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4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CB183-3BE6-4FD7-B816-14115F57B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54E898A-9CE5-489C-B557-35829A81A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1383AD6-06DE-4E04-BB0D-716027764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455909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914FD1A-1A07-44CA-A4AE-A315FF0F44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87DDC8-81F7-4DDA-8C63-C9C4759CA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F9FB03E-EC67-4A7F-A593-07DAF9579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15909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C1EAEC-1256-45F5-A8C7-48D617598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031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BF4D65-FAED-415D-8A9E-6AC26AAF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>
            <a:lvl1pPr>
              <a:buSzPct val="70000"/>
              <a:defRPr sz="2400">
                <a:latin typeface="Frutiger Next LT W1G"/>
              </a:defRPr>
            </a:lvl1pPr>
            <a:lvl2pPr>
              <a:defRPr sz="2000">
                <a:latin typeface="Frutiger Next LT W1G"/>
              </a:defRPr>
            </a:lvl2pPr>
            <a:lvl3pPr>
              <a:defRPr sz="1800">
                <a:latin typeface="Frutiger Next LT W1G"/>
              </a:defRPr>
            </a:lvl3pPr>
            <a:lvl4pPr>
              <a:defRPr sz="1600">
                <a:latin typeface="Frutiger Next LT W1G"/>
              </a:defRPr>
            </a:lvl4pPr>
            <a:lvl5pPr>
              <a:defRPr sz="1600"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355F329-3101-41B0-B687-E26930499A85}"/>
              </a:ext>
            </a:extLst>
          </p:cNvPr>
          <p:cNvCxnSpPr>
            <a:cxnSpLocks/>
          </p:cNvCxnSpPr>
          <p:nvPr userDrawn="1"/>
        </p:nvCxnSpPr>
        <p:spPr>
          <a:xfrm>
            <a:off x="838200" y="862013"/>
            <a:ext cx="10515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D98DC607-6D4C-41D6-8735-659306FBC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746450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C77A33-DBE8-405A-A366-4D0B6E7EE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2D4F1A-C984-4C3A-8389-9BAA7D045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Frutiger Next LT W1G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389DA5E-0B41-46A5-9D21-7FD9CED5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830310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37220C-04A2-4CE1-8FFC-D27F59BBF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B12ABE-A465-4DFF-9677-C4E48EE256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CB6BBA-510E-4F62-8B19-D639E14EFB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0E9021F-7410-43DC-9A62-F4CF7430D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986287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4CFF19-6D26-427E-88BD-139A3434E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FF3D5-285D-4800-ABA7-F558CC1E57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Frutiger Next LT W1G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E2F7589-90BF-43B8-921B-6B2A83BC00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4B76BF0-327F-4E24-8E87-23A86C8A9F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lang="de-DE" sz="2400" b="1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A8162A-D2B2-422A-9E93-0143C1AA92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754B407-BB56-427E-8B78-010A12387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229953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7C894F-624A-4D33-81E9-6EF043AA9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F223277-B98A-41E2-B146-7774FC35C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131257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22A9F2-C285-42E3-835E-64D1134F6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2874729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C883D-2D12-443F-9093-0229FFB88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B577E3-6B35-4E56-A2E4-782F7A311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Frutiger Next LT W1G"/>
              </a:defRPr>
            </a:lvl1pPr>
            <a:lvl2pPr>
              <a:defRPr sz="2800">
                <a:latin typeface="Frutiger Next LT W1G"/>
              </a:defRPr>
            </a:lvl2pPr>
            <a:lvl3pPr>
              <a:defRPr sz="2400">
                <a:latin typeface="Frutiger Next LT W1G"/>
              </a:defRPr>
            </a:lvl3pPr>
            <a:lvl4pPr>
              <a:defRPr sz="2000">
                <a:latin typeface="Frutiger Next LT W1G"/>
              </a:defRPr>
            </a:lvl4pPr>
            <a:lvl5pPr>
              <a:defRPr sz="2000">
                <a:latin typeface="Frutiger Next LT W1G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8E37E4-3725-4427-926D-BA965492B1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56000C-8377-498D-9BCA-B294B08A7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63760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4EA7D4-B1D3-4C6C-83C5-6B4A80E1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D945354-8054-4CF6-AA17-94D67C7A5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3A2D70-F568-4C41-9023-D7162EB93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B26431B-DF1C-495C-A4D7-C433E8BA0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06352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755DD19-CB6C-489F-BD7F-167DFD6B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5569E2-E29C-4C58-8656-FD6EA7368F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0974"/>
            <a:ext cx="10515600" cy="4899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9F4187-1357-409C-83FE-97A3D19910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724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5B754E-E23B-4E49-86C5-1FB4010E1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1579" y="3234441"/>
            <a:ext cx="8808841" cy="1636577"/>
          </a:xfrm>
        </p:spPr>
        <p:txBody>
          <a:bodyPr>
            <a:normAutofit fontScale="90000"/>
          </a:bodyPr>
          <a:lstStyle/>
          <a:p>
            <a:pPr algn="ctr"/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r>
              <a:rPr lang="de-DE" dirty="0"/>
              <a:t>Data Challenges</a:t>
            </a:r>
            <a:br>
              <a:rPr lang="de-DE" dirty="0"/>
            </a:br>
            <a:br>
              <a:rPr lang="de-DE" dirty="0"/>
            </a:br>
            <a:r>
              <a:rPr lang="de-DE" sz="4400" dirty="0"/>
              <a:t>Task 1: </a:t>
            </a:r>
            <a:r>
              <a:rPr lang="de-DE" sz="4400" dirty="0" err="1"/>
              <a:t>PhysioNet</a:t>
            </a:r>
            <a:r>
              <a:rPr lang="de-DE" sz="4400" dirty="0"/>
              <a:t> Challenge</a:t>
            </a:r>
            <a:br>
              <a:rPr lang="de-DE" sz="4400" dirty="0"/>
            </a:br>
            <a:br>
              <a:rPr lang="de-DE" sz="4400" dirty="0"/>
            </a:br>
            <a:r>
              <a:rPr lang="de-DE" sz="4400" dirty="0"/>
              <a:t>Group 8</a:t>
            </a:r>
          </a:p>
        </p:txBody>
      </p:sp>
      <p:pic>
        <p:nvPicPr>
          <p:cNvPr id="8" name="Inhaltsplatzhalter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CE703574-C7EF-4C5B-8325-B0D5A41D0305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0691" y="363841"/>
            <a:ext cx="2220567" cy="1212547"/>
          </a:xfr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7F67BE49-6B0A-43C5-84E8-B3EAF170C545}"/>
              </a:ext>
            </a:extLst>
          </p:cNvPr>
          <p:cNvSpPr txBox="1"/>
          <p:nvPr/>
        </p:nvSpPr>
        <p:spPr>
          <a:xfrm>
            <a:off x="1155247" y="4871018"/>
            <a:ext cx="609872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DE" dirty="0"/>
              <a:t>Jakob Vanek 5879817</a:t>
            </a:r>
            <a:br>
              <a:rPr lang="de-DE" dirty="0"/>
            </a:br>
            <a:r>
              <a:rPr lang="de-DE" dirty="0"/>
              <a:t>Philipp Wörner 6375519</a:t>
            </a:r>
            <a:br>
              <a:rPr lang="de-DE" dirty="0"/>
            </a:br>
            <a:r>
              <a:rPr lang="de-DE" dirty="0"/>
              <a:t>Tobias Ettling </a:t>
            </a:r>
            <a:r>
              <a:rPr lang="de-DE" b="0" i="0" u="none" strike="noStrike" baseline="0" dirty="0"/>
              <a:t>6753746</a:t>
            </a:r>
            <a:br>
              <a:rPr lang="de-DE" dirty="0"/>
            </a:br>
            <a:r>
              <a:rPr lang="de-DE" dirty="0"/>
              <a:t>Xheni Hoxha  7267017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083109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>
                <a:latin typeface="+mn-lt"/>
              </a:rPr>
              <a:t>3.  Dimensionality Reduction </a:t>
            </a:r>
            <a:r>
              <a:rPr lang="de-DE">
                <a:latin typeface="+mn-lt"/>
              </a:rPr>
              <a:t>T</a:t>
            </a:r>
            <a:r>
              <a:rPr lang="de-DE" sz="4000" noProof="0">
                <a:latin typeface="+mn-lt"/>
              </a:rPr>
              <a:t>echniques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3. 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imensionality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Reduction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echniques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  <a:p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C59A34FB-DCD3-48AC-85AB-0213A85F584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2156" t="1927" b="10492"/>
          <a:stretch/>
        </p:blipFill>
        <p:spPr>
          <a:xfrm>
            <a:off x="684232" y="1563076"/>
            <a:ext cx="3757141" cy="422599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BF458AB2-F091-41FC-935E-7999C8345FB6}"/>
              </a:ext>
            </a:extLst>
          </p:cNvPr>
          <p:cNvSpPr txBox="1"/>
          <p:nvPr/>
        </p:nvSpPr>
        <p:spPr>
          <a:xfrm>
            <a:off x="4519128" y="1430914"/>
            <a:ext cx="7595117" cy="5037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erving </a:t>
            </a:r>
            <a:r>
              <a:rPr lang="de-DE" b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</a:t>
            </a: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al structure       </a:t>
            </a:r>
            <a:endParaRPr lang="de-DE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-SNE: 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ts focus on nearest neighbors in the relative distance calculations.</a:t>
            </a:r>
          </a:p>
          <a:p>
            <a:pPr lvl="0">
              <a:lnSpc>
                <a:spcPct val="107000"/>
              </a:lnSpc>
            </a:pPr>
            <a:endParaRPr lang="de-DE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MAP: 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tter preserves global structure, faster, but uses distances between nearest neighbors in the construction of the graph.</a:t>
            </a:r>
          </a:p>
          <a:p>
            <a:pPr lvl="0">
              <a:lnSpc>
                <a:spcPct val="107000"/>
              </a:lnSpc>
              <a:spcAft>
                <a:spcPts val="800"/>
              </a:spcAft>
            </a:pPr>
            <a:endParaRPr lang="de-DE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erving Global structure                                                                                       </a:t>
            </a:r>
            <a:endParaRPr lang="de-DE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CA:  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data -potentially correlated- is reframed into uncorrelated principal components captures the </a:t>
            </a:r>
            <a:r>
              <a:rPr lang="de-DE" i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lobal 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ucture of the data        </a:t>
            </a:r>
          </a:p>
          <a:p>
            <a:pPr lvl="0">
              <a:lnSpc>
                <a:spcPct val="107000"/>
              </a:lnSpc>
            </a:pP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iMAP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triplets from nearest neighbors. Finding the next lower dimensional, which preserves reserving their  distance ordering. Theoretically, both  </a:t>
            </a:r>
            <a:r>
              <a:rPr lang="de-DE" i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cal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and </a:t>
            </a:r>
            <a:r>
              <a:rPr lang="de-DE" i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lobal 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ucture.</a:t>
            </a:r>
          </a:p>
          <a:p>
            <a:pPr>
              <a:lnSpc>
                <a:spcPts val="2400"/>
              </a:lnSpc>
              <a:spcBef>
                <a:spcPts val="2400"/>
              </a:spcBef>
            </a:pPr>
            <a:endParaRPr lang="de-DE" sz="1200" i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DD2F2645-67C2-4997-A7FF-C67907A96838}"/>
              </a:ext>
            </a:extLst>
          </p:cNvPr>
          <p:cNvSpPr txBox="1">
            <a:spLocks/>
          </p:cNvSpPr>
          <p:nvPr/>
        </p:nvSpPr>
        <p:spPr>
          <a:xfrm>
            <a:off x="838200" y="1035050"/>
            <a:ext cx="6493329" cy="1031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>
                <a:latin typeface="+mn-lt"/>
              </a:rPr>
              <a:t>Som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good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echniques</a:t>
            </a:r>
            <a:endParaRPr lang="de-DE" dirty="0">
              <a:latin typeface="+mn-lt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AD4078C-CDB0-48BA-8238-B2DCA32B55F1}"/>
              </a:ext>
            </a:extLst>
          </p:cNvPr>
          <p:cNvSpPr txBox="1"/>
          <p:nvPr/>
        </p:nvSpPr>
        <p:spPr>
          <a:xfrm>
            <a:off x="485969" y="5833130"/>
            <a:ext cx="1170603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dirty="0"/>
              <a:t>[2] Wang, </a:t>
            </a:r>
            <a:r>
              <a:rPr lang="de-DE" sz="1400" dirty="0" err="1"/>
              <a:t>Yingfan</a:t>
            </a:r>
            <a:r>
              <a:rPr lang="de-DE" sz="1400" dirty="0"/>
              <a:t> &amp; Huang, </a:t>
            </a:r>
            <a:r>
              <a:rPr lang="de-DE" sz="1400" dirty="0" err="1"/>
              <a:t>Haiyang</a:t>
            </a:r>
            <a:r>
              <a:rPr lang="de-DE" sz="1400" dirty="0"/>
              <a:t> &amp; Rudin, Cynthia &amp; </a:t>
            </a:r>
            <a:r>
              <a:rPr lang="de-DE" sz="1400" dirty="0" err="1"/>
              <a:t>Shaposhnik</a:t>
            </a:r>
            <a:r>
              <a:rPr lang="de-DE" sz="1400" dirty="0"/>
              <a:t>, Yaron. (2020). Understanding </a:t>
            </a:r>
            <a:r>
              <a:rPr lang="de-DE" sz="1400" dirty="0" err="1"/>
              <a:t>How</a:t>
            </a:r>
            <a:r>
              <a:rPr lang="de-DE" sz="1400" dirty="0"/>
              <a:t> Dimension </a:t>
            </a:r>
            <a:r>
              <a:rPr lang="de-DE" sz="1400" dirty="0" err="1"/>
              <a:t>Reduction</a:t>
            </a:r>
            <a:r>
              <a:rPr lang="de-DE" sz="1400" dirty="0"/>
              <a:t> Tools Work: An </a:t>
            </a:r>
            <a:r>
              <a:rPr lang="de-DE" sz="1400" dirty="0" err="1"/>
              <a:t>Empirical</a:t>
            </a:r>
            <a:r>
              <a:rPr lang="de-DE" sz="1400" dirty="0"/>
              <a:t> Approach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Deciphering</a:t>
            </a:r>
            <a:r>
              <a:rPr lang="de-DE" sz="1400" dirty="0"/>
              <a:t> t-SNE, UMAP, </a:t>
            </a:r>
            <a:r>
              <a:rPr lang="de-DE" sz="1400" dirty="0" err="1"/>
              <a:t>TriMAP</a:t>
            </a:r>
            <a:r>
              <a:rPr lang="de-DE" sz="1400" dirty="0"/>
              <a:t>, and </a:t>
            </a:r>
            <a:r>
              <a:rPr lang="de-DE" sz="1400" dirty="0" err="1"/>
              <a:t>PaCMAP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Data </a:t>
            </a:r>
            <a:r>
              <a:rPr lang="de-DE" sz="1400" dirty="0" err="1"/>
              <a:t>Visualization</a:t>
            </a:r>
            <a:r>
              <a:rPr lang="de-DE" sz="14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8325015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"/>
            <a:ext cx="10515600" cy="1031875"/>
          </a:xfrm>
        </p:spPr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3.  </a:t>
            </a:r>
            <a:r>
              <a:rPr lang="de-DE" sz="4000" noProof="0" dirty="0" err="1">
                <a:latin typeface="+mn-lt"/>
              </a:rPr>
              <a:t>Dimensionality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Reduction</a:t>
            </a:r>
            <a:r>
              <a:rPr lang="de-DE" sz="4000" noProof="0" dirty="0">
                <a:latin typeface="+mn-lt"/>
              </a:rPr>
              <a:t> </a:t>
            </a:r>
            <a:r>
              <a:rPr lang="de-DE" dirty="0">
                <a:latin typeface="+mn-lt"/>
              </a:rPr>
              <a:t>T</a:t>
            </a:r>
            <a:r>
              <a:rPr lang="de-DE" sz="4000" noProof="0" dirty="0" err="1">
                <a:latin typeface="+mn-lt"/>
              </a:rPr>
              <a:t>echniques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3. 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imensionality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Reduction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echniques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C59A34FB-DCD3-48AC-85AB-0213A85F584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2156" t="1927" b="10492"/>
          <a:stretch/>
        </p:blipFill>
        <p:spPr>
          <a:xfrm>
            <a:off x="716888" y="1564105"/>
            <a:ext cx="3745348" cy="425884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BF458AB2-F091-41FC-935E-7999C8345FB6}"/>
                  </a:ext>
                </a:extLst>
              </p:cNvPr>
              <p:cNvSpPr txBox="1"/>
              <p:nvPr/>
            </p:nvSpPr>
            <p:spPr>
              <a:xfrm>
                <a:off x="4583548" y="1969452"/>
                <a:ext cx="7277877" cy="349698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de-DE" b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Preserving </a:t>
                </a:r>
                <a:r>
                  <a:rPr lang="de-DE" b="1" dirty="0" err="1">
                    <a:ea typeface="Calibri" panose="020F0502020204030204" pitchFamily="34" charset="0"/>
                    <a:cs typeface="Times New Roman" panose="02020603050405020304" pitchFamily="18" charset="0"/>
                  </a:rPr>
                  <a:t>L</a:t>
                </a:r>
                <a:r>
                  <a:rPr lang="de-DE" b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ocal</a:t>
                </a:r>
                <a:r>
                  <a:rPr lang="de-DE" b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and Global </a:t>
                </a:r>
                <a:r>
                  <a:rPr lang="de-DE" b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structure</a:t>
                </a:r>
                <a:endParaRPr lang="de-DE" b="1" dirty="0"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342900" indent="-342900">
                  <a:lnSpc>
                    <a:spcPct val="107000"/>
                  </a:lnSpc>
                  <a:buFont typeface="Symbol" panose="05050102010706020507" pitchFamily="18" charset="2"/>
                  <a:buChar char=""/>
                </a:pPr>
                <a:r>
                  <a:rPr lang="de-DE" b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PaCMAP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instead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of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considering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more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neighbors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,</a:t>
                </a:r>
                <a:r>
                  <a:rPr lang="en-US" b="0" i="0" dirty="0">
                    <a:solidFill>
                      <a:srgbClr val="24292F"/>
                    </a:solidFill>
                    <a:effectLst/>
                  </a:rPr>
                  <a:t> it dynamically uses a special group of pairs: Mid-Near </a:t>
                </a:r>
                <a:r>
                  <a:rPr lang="en-US" dirty="0">
                    <a:solidFill>
                      <a:srgbClr val="24292F"/>
                    </a:solidFill>
                  </a:rPr>
                  <a:t>P</a:t>
                </a:r>
                <a:r>
                  <a:rPr lang="en-US" b="0" i="0" dirty="0">
                    <a:solidFill>
                      <a:srgbClr val="24292F"/>
                    </a:solidFill>
                    <a:effectLst/>
                  </a:rPr>
                  <a:t>airs, to first capture Global  structure and then refine Local structure, so there is no trade-off of the structures</a:t>
                </a:r>
              </a:p>
              <a:p>
                <a:pPr lvl="0">
                  <a:lnSpc>
                    <a:spcPct val="107000"/>
                  </a:lnSpc>
                </a:pPr>
                <a:endParaRPr lang="de-DE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07000"/>
                  </a:lnSpc>
                  <a:spcAft>
                    <a:spcPts val="800"/>
                  </a:spcAft>
                  <a:buFont typeface="Symbol" panose="05050102010706020507" pitchFamily="18" charset="2"/>
                  <a:buChar char=""/>
                </a:pPr>
                <a:r>
                  <a:rPr lang="de-DE" b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PaCMAP</a:t>
                </a:r>
                <a:r>
                  <a:rPr lang="de-DE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 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aims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to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reach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an ideal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loss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function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:</a:t>
                </a:r>
              </a:p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𝑙𝑜𝑠𝑠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𝑛𝑛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𝑙𝑜𝑠𝑠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𝑛𝑛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𝑚𝑛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𝑙𝑜𝑠𝑠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𝑚𝑛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𝑓𝑝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𝑙𝑜𝑠𝑠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𝑓𝑝</m:t>
                          </m:r>
                        </m:sub>
                      </m:sSub>
                    </m:oMath>
                  </m:oMathPara>
                </a14:m>
                <a:endParaRPr lang="de-DE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de-DE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          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(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where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nn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=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near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neighb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,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mn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=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mid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neighb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, 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fp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=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far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pairs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)</a:t>
                </a:r>
                <a:endParaRPr lang="de-DE" sz="1600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ts val="2400"/>
                  </a:lnSpc>
                  <a:spcBef>
                    <a:spcPts val="2400"/>
                  </a:spcBef>
                </a:pPr>
                <a:endParaRPr lang="de-DE" i="1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BF458AB2-F091-41FC-935E-7999C8345F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83548" y="1969452"/>
                <a:ext cx="7277877" cy="3496983"/>
              </a:xfrm>
              <a:prstGeom prst="rect">
                <a:avLst/>
              </a:prstGeom>
              <a:blipFill>
                <a:blip r:embed="rId4"/>
                <a:stretch>
                  <a:fillRect l="-754" t="-697" r="-8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882D46A-B3AF-4071-AF2F-D775120C4161}"/>
              </a:ext>
            </a:extLst>
          </p:cNvPr>
          <p:cNvSpPr txBox="1">
            <a:spLocks/>
          </p:cNvSpPr>
          <p:nvPr/>
        </p:nvSpPr>
        <p:spPr>
          <a:xfrm>
            <a:off x="838200" y="1035050"/>
            <a:ext cx="6493329" cy="1031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+mn-lt"/>
              </a:rPr>
              <a:t>Chosen </a:t>
            </a:r>
            <a:r>
              <a:rPr lang="de-DE" dirty="0" err="1">
                <a:latin typeface="+mn-lt"/>
              </a:rPr>
              <a:t>Techniqu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for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h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data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set</a:t>
            </a:r>
            <a:endParaRPr lang="de-DE" dirty="0">
              <a:latin typeface="+mn-lt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43C8EF6-54EF-479D-A80F-4954D50DAEE1}"/>
              </a:ext>
            </a:extLst>
          </p:cNvPr>
          <p:cNvSpPr txBox="1"/>
          <p:nvPr/>
        </p:nvSpPr>
        <p:spPr>
          <a:xfrm>
            <a:off x="558656" y="5877192"/>
            <a:ext cx="113867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noProof="0" dirty="0"/>
              <a:t>[2] Wang, </a:t>
            </a:r>
            <a:r>
              <a:rPr lang="de-DE" sz="1400" noProof="0" dirty="0" err="1"/>
              <a:t>Yingfan</a:t>
            </a:r>
            <a:r>
              <a:rPr lang="de-DE" sz="1400" noProof="0" dirty="0"/>
              <a:t> &amp; Huang, </a:t>
            </a:r>
            <a:r>
              <a:rPr lang="de-DE" sz="1400" noProof="0" dirty="0" err="1"/>
              <a:t>Haiyang</a:t>
            </a:r>
            <a:r>
              <a:rPr lang="de-DE" sz="1400" noProof="0" dirty="0"/>
              <a:t> &amp; Rudin, Cynthia &amp; </a:t>
            </a:r>
            <a:r>
              <a:rPr lang="de-DE" sz="1400" noProof="0" dirty="0" err="1"/>
              <a:t>Shaposhnik</a:t>
            </a:r>
            <a:r>
              <a:rPr lang="de-DE" sz="1400" noProof="0" dirty="0"/>
              <a:t>, Yaron. (2020). Understanding </a:t>
            </a:r>
            <a:r>
              <a:rPr lang="de-DE" sz="1400" noProof="0" dirty="0" err="1"/>
              <a:t>How</a:t>
            </a:r>
            <a:r>
              <a:rPr lang="de-DE" sz="1400" noProof="0" dirty="0"/>
              <a:t> Dimension </a:t>
            </a:r>
            <a:r>
              <a:rPr lang="de-DE" sz="1400" noProof="0" dirty="0" err="1"/>
              <a:t>Reduction</a:t>
            </a:r>
            <a:r>
              <a:rPr lang="de-DE" sz="1400" noProof="0" dirty="0"/>
              <a:t> Tools Work: An </a:t>
            </a:r>
            <a:r>
              <a:rPr lang="de-DE" sz="1400" noProof="0" dirty="0" err="1"/>
              <a:t>Empirical</a:t>
            </a:r>
            <a:r>
              <a:rPr lang="de-DE" sz="1400" noProof="0" dirty="0"/>
              <a:t> Approach </a:t>
            </a:r>
            <a:r>
              <a:rPr lang="de-DE" sz="1400" noProof="0" dirty="0" err="1"/>
              <a:t>to</a:t>
            </a:r>
            <a:r>
              <a:rPr lang="de-DE" sz="1400" noProof="0" dirty="0"/>
              <a:t> </a:t>
            </a:r>
            <a:r>
              <a:rPr lang="de-DE" sz="1400" noProof="0" dirty="0" err="1"/>
              <a:t>Deciphering</a:t>
            </a:r>
            <a:r>
              <a:rPr lang="de-DE" sz="1400" noProof="0" dirty="0"/>
              <a:t> t-SNE, UMAP, </a:t>
            </a:r>
            <a:r>
              <a:rPr lang="de-DE" sz="1400" noProof="0" dirty="0" err="1"/>
              <a:t>TriMAP</a:t>
            </a:r>
            <a:r>
              <a:rPr lang="de-DE" sz="1400" noProof="0" dirty="0"/>
              <a:t>, and </a:t>
            </a:r>
            <a:r>
              <a:rPr lang="de-DE" sz="1400" noProof="0" dirty="0" err="1"/>
              <a:t>PaCMAP</a:t>
            </a:r>
            <a:r>
              <a:rPr lang="de-DE" sz="1400" noProof="0" dirty="0"/>
              <a:t> </a:t>
            </a:r>
            <a:r>
              <a:rPr lang="de-DE" sz="1400" noProof="0" dirty="0" err="1"/>
              <a:t>for</a:t>
            </a:r>
            <a:r>
              <a:rPr lang="de-DE" sz="1400" noProof="0" dirty="0"/>
              <a:t> Data </a:t>
            </a:r>
            <a:r>
              <a:rPr lang="de-DE" sz="1400" noProof="0" dirty="0" err="1"/>
              <a:t>Visualization</a:t>
            </a:r>
            <a:r>
              <a:rPr lang="de-DE" sz="1400" noProof="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1382841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noProof="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4. Web </a:t>
            </a:r>
            <a:r>
              <a:rPr lang="de-DE" sz="1200" noProof="0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app</a:t>
            </a:r>
            <a:r>
              <a:rPr lang="de-DE" sz="1200" noProof="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1200" noProof="0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development</a:t>
            </a:r>
            <a:r>
              <a:rPr lang="de-DE" sz="1200" noProof="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1200" noProof="0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framework</a:t>
            </a:r>
            <a:endParaRPr lang="de-DE" sz="1200" dirty="0">
              <a:solidFill>
                <a:schemeClr val="bg2">
                  <a:lumMod val="50000"/>
                </a:schemeClr>
              </a:solidFill>
              <a:latin typeface="Frutiger Next LT W1G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E13E5AA-4D16-43E4-A8F6-085F1BC49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noProof="0" dirty="0">
                <a:latin typeface="+mn-lt"/>
              </a:rPr>
              <a:t>4. Web </a:t>
            </a:r>
            <a:r>
              <a:rPr lang="de-DE" sz="4000" noProof="0" dirty="0" err="1">
                <a:latin typeface="+mn-lt"/>
              </a:rPr>
              <a:t>ap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development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framework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215144C-DE95-4978-9984-0A5787261C2A}"/>
              </a:ext>
            </a:extLst>
          </p:cNvPr>
          <p:cNvSpPr txBox="1"/>
          <p:nvPr/>
        </p:nvSpPr>
        <p:spPr>
          <a:xfrm>
            <a:off x="838200" y="889843"/>
            <a:ext cx="10608906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The front-end should be able to visualize every analyze method for each possible data specific parameter.</a:t>
            </a:r>
          </a:p>
          <a:p>
            <a:pPr algn="l"/>
            <a:endParaRPr lang="en-US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To avoid extensive loading time, the front-end solution has to access each value without loading the entire </a:t>
            </a:r>
            <a:r>
              <a:rPr lang="de-DE" sz="1800" b="0" i="0" u="none" strike="noStrike" baseline="0" dirty="0" err="1"/>
              <a:t>data</a:t>
            </a:r>
            <a:r>
              <a:rPr lang="de-DE" sz="1800" b="0" i="0" u="none" strike="noStrike" baseline="0" dirty="0"/>
              <a:t> </a:t>
            </a:r>
            <a:r>
              <a:rPr lang="de-DE" sz="1800" b="0" i="0" u="none" strike="noStrike" baseline="0" dirty="0" err="1"/>
              <a:t>every</a:t>
            </a:r>
            <a:r>
              <a:rPr lang="de-DE" sz="1800" b="0" i="0" u="none" strike="noStrike" baseline="0" dirty="0"/>
              <a:t> time.</a:t>
            </a:r>
          </a:p>
          <a:p>
            <a:pPr algn="l"/>
            <a:endParaRPr lang="de-DE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A solution to this problem would be to first do every calculation and then save the output values to the disk </a:t>
            </a:r>
            <a:r>
              <a:rPr lang="de-DE" sz="1800" b="0" i="0" u="none" strike="noStrike" baseline="0" dirty="0" err="1"/>
              <a:t>memory</a:t>
            </a:r>
            <a:r>
              <a:rPr lang="de-DE" sz="1800" b="0" i="0" u="none" strike="noStrike" baseline="0" dirty="0"/>
              <a:t> (Python Pickle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DE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The user using the web app can then specify his desired output to the input elements given in the web app and does not have to deal with long intervention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This takes a lot of weight and complexity from the front-end, which is why we chose </a:t>
            </a:r>
            <a:r>
              <a:rPr lang="en-US" sz="1800" b="0" i="0" u="none" strike="noStrike" baseline="0" dirty="0" err="1"/>
              <a:t>Streamlit</a:t>
            </a:r>
            <a:r>
              <a:rPr lang="en-US" sz="1800" b="0" i="0" u="none" strike="noStrike" baseline="0" dirty="0"/>
              <a:t>.</a:t>
            </a:r>
          </a:p>
          <a:p>
            <a:pPr algn="l"/>
            <a:endParaRPr lang="en-US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 err="1"/>
              <a:t>Streamlit</a:t>
            </a:r>
            <a:r>
              <a:rPr lang="en-US" sz="1800" b="0" i="0" u="none" strike="noStrike" baseline="0" dirty="0"/>
              <a:t> is a nice way of presenting data, as the development is very simple and so the functionality.</a:t>
            </a:r>
          </a:p>
          <a:p>
            <a:pPr algn="l"/>
            <a:endParaRPr lang="en-US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Since the complexity is kept low by just loading the value in to the frame, simplicity is not a proble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68332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4. Web </a:t>
            </a:r>
            <a:r>
              <a:rPr lang="de-DE" sz="4000" noProof="0" dirty="0" err="1">
                <a:latin typeface="+mn-lt"/>
              </a:rPr>
              <a:t>ap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development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framework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endParaRPr lang="de-DE" sz="2400" dirty="0"/>
          </a:p>
          <a:p>
            <a:r>
              <a:rPr lang="de-DE" sz="2400" dirty="0" err="1"/>
              <a:t>Choosing</a:t>
            </a:r>
            <a:r>
              <a:rPr lang="de-DE" sz="2400" dirty="0"/>
              <a:t> </a:t>
            </a:r>
            <a:r>
              <a:rPr lang="de-DE" sz="2400" noProof="0" dirty="0" err="1"/>
              <a:t>streamlit</a:t>
            </a:r>
            <a:r>
              <a:rPr lang="de-DE" sz="2400" noProof="0" dirty="0"/>
              <a:t> after </a:t>
            </a:r>
            <a:r>
              <a:rPr lang="de-DE" sz="2400" noProof="0" dirty="0" err="1"/>
              <a:t>comparing</a:t>
            </a:r>
            <a:r>
              <a:rPr lang="de-DE" sz="2400" noProof="0" dirty="0"/>
              <a:t> </a:t>
            </a:r>
            <a:r>
              <a:rPr lang="de-DE" sz="2400" noProof="0" dirty="0" err="1"/>
              <a:t>it</a:t>
            </a:r>
            <a:r>
              <a:rPr lang="de-DE" sz="2400" noProof="0" dirty="0"/>
              <a:t> </a:t>
            </a:r>
            <a:r>
              <a:rPr lang="de-DE" sz="2400" noProof="0" dirty="0" err="1"/>
              <a:t>to</a:t>
            </a:r>
            <a:r>
              <a:rPr lang="de-DE" sz="2400" noProof="0" dirty="0"/>
              <a:t> </a:t>
            </a:r>
            <a:r>
              <a:rPr lang="de-DE" sz="2400" noProof="0" dirty="0" err="1"/>
              <a:t>popular</a:t>
            </a:r>
            <a:r>
              <a:rPr lang="de-DE" sz="2400" noProof="0" dirty="0"/>
              <a:t> alternatives</a:t>
            </a:r>
          </a:p>
          <a:p>
            <a:endParaRPr lang="de-DE" sz="24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4. Web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app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development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ramework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C646A03-F853-41D1-BB20-D4BF60AAD3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2006406"/>
            <a:ext cx="5768993" cy="400011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839A706-BD76-4525-89B8-4D02D10B6CF3}"/>
              </a:ext>
            </a:extLst>
          </p:cNvPr>
          <p:cNvSpPr txBox="1"/>
          <p:nvPr/>
        </p:nvSpPr>
        <p:spPr>
          <a:xfrm>
            <a:off x="642258" y="2255275"/>
            <a:ext cx="6098720" cy="26161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de-DE" sz="2400" noProof="0" dirty="0"/>
          </a:p>
          <a:p>
            <a:pPr lvl="1"/>
            <a:r>
              <a:rPr lang="de-DE" sz="2000" noProof="0" dirty="0" err="1"/>
              <a:t>Flask</a:t>
            </a:r>
            <a:r>
              <a:rPr lang="de-DE" sz="2000" noProof="0" dirty="0"/>
              <a:t>: </a:t>
            </a:r>
            <a:r>
              <a:rPr lang="de-DE" sz="2000" noProof="0" dirty="0" err="1"/>
              <a:t>Too</a:t>
            </a:r>
            <a:r>
              <a:rPr lang="de-DE" sz="2000" noProof="0" dirty="0"/>
              <a:t> </a:t>
            </a:r>
            <a:r>
              <a:rPr lang="de-DE" sz="2000" noProof="0" dirty="0" err="1"/>
              <a:t>unspecific</a:t>
            </a:r>
            <a:endParaRPr lang="de-DE" sz="2000" noProof="0" dirty="0"/>
          </a:p>
          <a:p>
            <a:pPr lvl="1"/>
            <a:endParaRPr lang="de-DE" sz="2000" dirty="0"/>
          </a:p>
          <a:p>
            <a:pPr lvl="1"/>
            <a:r>
              <a:rPr lang="de-DE" sz="2000" noProof="0" dirty="0" err="1"/>
              <a:t>Plotly</a:t>
            </a:r>
            <a:r>
              <a:rPr lang="de-DE" sz="2000" noProof="0" dirty="0"/>
              <a:t> </a:t>
            </a:r>
            <a:r>
              <a:rPr lang="de-DE" sz="2000" noProof="0" dirty="0" err="1"/>
              <a:t>combined</a:t>
            </a:r>
            <a:r>
              <a:rPr lang="de-DE" sz="2000" noProof="0" dirty="0"/>
              <a:t> in a  </a:t>
            </a:r>
            <a:r>
              <a:rPr lang="de-DE" sz="2000" noProof="0" dirty="0" err="1"/>
              <a:t>Webframe</a:t>
            </a:r>
            <a:r>
              <a:rPr lang="de-DE" sz="2000" noProof="0" dirty="0"/>
              <a:t> (JavaScript)</a:t>
            </a:r>
          </a:p>
          <a:p>
            <a:pPr lvl="1"/>
            <a:r>
              <a:rPr lang="de-DE" sz="2000" noProof="0" dirty="0"/>
              <a:t>Not </a:t>
            </a:r>
            <a:r>
              <a:rPr lang="de-DE" sz="2000" noProof="0" dirty="0" err="1"/>
              <a:t>efficient</a:t>
            </a:r>
            <a:endParaRPr lang="de-DE" sz="2000" noProof="0" dirty="0"/>
          </a:p>
          <a:p>
            <a:pPr marL="457200" lvl="1" indent="0">
              <a:buNone/>
            </a:pPr>
            <a:endParaRPr lang="de-DE" sz="2000" dirty="0"/>
          </a:p>
          <a:p>
            <a:pPr lvl="1"/>
            <a:r>
              <a:rPr lang="de-DE" sz="2000" dirty="0" err="1"/>
              <a:t>Streamlit</a:t>
            </a:r>
            <a:r>
              <a:rPr lang="de-DE" sz="2000" dirty="0"/>
              <a:t>: </a:t>
            </a:r>
            <a:r>
              <a:rPr lang="de-DE" sz="2000" dirty="0" err="1"/>
              <a:t>Perfect</a:t>
            </a:r>
            <a:r>
              <a:rPr lang="de-DE" sz="2000" dirty="0"/>
              <a:t> </a:t>
            </a:r>
            <a:r>
              <a:rPr lang="de-DE" sz="2000" dirty="0" err="1"/>
              <a:t>solution</a:t>
            </a:r>
            <a:r>
              <a:rPr lang="de-DE" sz="2000" dirty="0"/>
              <a:t>,</a:t>
            </a:r>
            <a:br>
              <a:rPr lang="de-DE" sz="2000" dirty="0"/>
            </a:br>
            <a:r>
              <a:rPr lang="de-DE" sz="2000" dirty="0" err="1"/>
              <a:t>specified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Data Analysis and </a:t>
            </a:r>
            <a:r>
              <a:rPr lang="de-DE" sz="2000" dirty="0" err="1"/>
              <a:t>Visualization</a:t>
            </a:r>
            <a:endParaRPr lang="de-DE" sz="2000" noProof="0" dirty="0"/>
          </a:p>
        </p:txBody>
      </p:sp>
    </p:spTree>
    <p:extLst>
      <p:ext uri="{BB962C8B-B14F-4D97-AF65-F5344CB8AC3E}">
        <p14:creationId xmlns:p14="http://schemas.microsoft.com/office/powerpoint/2010/main" val="41050661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80E37E-6F99-460C-8E27-16F021F52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Outlook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86BB7297-82EE-41CA-AC8B-70FBBA5DE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ADA1716-4D10-41DC-9E5D-26FAB3E41D11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Outlook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C8D6FEE-5A62-4CCD-A03C-1AC7B232FA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266689"/>
          </a:xfrm>
        </p:spPr>
        <p:txBody>
          <a:bodyPr/>
          <a:lstStyle/>
          <a:p>
            <a:endParaRPr lang="en-US" dirty="0">
              <a:latin typeface="+mn-lt"/>
            </a:endParaRP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This dataset can now be analyzed with different Machine Learning tools in Python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Dimensionality Reduction is a helpful step in data visualization </a:t>
            </a:r>
          </a:p>
          <a:p>
            <a:pPr marL="0" indent="0">
              <a:buNone/>
            </a:pPr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The final presentation of results is enabled within a </a:t>
            </a:r>
            <a:r>
              <a:rPr lang="en-US" dirty="0" err="1">
                <a:latin typeface="+mn-lt"/>
              </a:rPr>
              <a:t>Streamlit</a:t>
            </a:r>
            <a:r>
              <a:rPr lang="en-US" dirty="0">
                <a:latin typeface="+mn-lt"/>
              </a:rPr>
              <a:t> web app</a:t>
            </a:r>
          </a:p>
        </p:txBody>
      </p:sp>
    </p:spTree>
    <p:extLst>
      <p:ext uri="{BB962C8B-B14F-4D97-AF65-F5344CB8AC3E}">
        <p14:creationId xmlns:p14="http://schemas.microsoft.com/office/powerpoint/2010/main" val="9584212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CF38384E-C919-436D-8FAF-8DEAA6CF0E4D}"/>
              </a:ext>
            </a:extLst>
          </p:cNvPr>
          <p:cNvSpPr txBox="1"/>
          <p:nvPr/>
        </p:nvSpPr>
        <p:spPr>
          <a:xfrm>
            <a:off x="4590662" y="3105834"/>
            <a:ext cx="24072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3600" dirty="0" err="1">
                <a:latin typeface="+mn-lt"/>
              </a:rPr>
              <a:t>Thank</a:t>
            </a:r>
            <a:r>
              <a:rPr lang="de-DE" sz="3600" dirty="0">
                <a:latin typeface="+mn-lt"/>
              </a:rPr>
              <a:t> </a:t>
            </a:r>
            <a:r>
              <a:rPr lang="de-DE" sz="3600" dirty="0" err="1"/>
              <a:t>you</a:t>
            </a:r>
            <a:r>
              <a:rPr lang="de-DE" sz="3600" dirty="0">
                <a:latin typeface="+mn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037124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/>
              <a:t>Overview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66E2B2D-1DBB-4F8A-811A-994BAA033D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514350" indent="-514350">
              <a:buAutoNum type="arabicPeriod"/>
            </a:pPr>
            <a:endParaRPr lang="de-DE" sz="2800" noProof="0" dirty="0">
              <a:latin typeface="+mn-lt"/>
            </a:endParaRPr>
          </a:p>
          <a:p>
            <a:pPr marL="0" indent="0">
              <a:buNone/>
            </a:pPr>
            <a:r>
              <a:rPr lang="de-DE" sz="2800" noProof="0" dirty="0">
                <a:latin typeface="+mn-lt"/>
              </a:rPr>
              <a:t>1.   </a:t>
            </a:r>
            <a:r>
              <a:rPr lang="de-DE" sz="2800" noProof="0" dirty="0" err="1">
                <a:latin typeface="+mn-lt"/>
              </a:rPr>
              <a:t>Accessing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the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data</a:t>
            </a:r>
            <a:r>
              <a:rPr lang="de-DE" sz="280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set</a:t>
            </a:r>
            <a:endParaRPr lang="de-DE" sz="2800" noProof="0" dirty="0">
              <a:latin typeface="+mn-lt"/>
            </a:endParaRPr>
          </a:p>
          <a:p>
            <a:endParaRPr lang="de-DE" sz="2800" dirty="0">
              <a:latin typeface="+mn-lt"/>
            </a:endParaRPr>
          </a:p>
          <a:p>
            <a:pPr marL="0" indent="0">
              <a:buNone/>
            </a:pPr>
            <a:r>
              <a:rPr lang="de-DE" sz="2800" dirty="0">
                <a:latin typeface="+mn-lt"/>
              </a:rPr>
              <a:t>2.   Manual </a:t>
            </a:r>
            <a:r>
              <a:rPr lang="de-DE" sz="2800" dirty="0" err="1">
                <a:latin typeface="+mn-lt"/>
              </a:rPr>
              <a:t>data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exploration</a:t>
            </a:r>
            <a:endParaRPr lang="de-DE" sz="2800" dirty="0">
              <a:latin typeface="+mn-lt"/>
            </a:endParaRPr>
          </a:p>
          <a:p>
            <a:pPr marL="0" indent="0">
              <a:buNone/>
            </a:pPr>
            <a:r>
              <a:rPr lang="de-DE" sz="2800" dirty="0">
                <a:latin typeface="+mn-lt"/>
              </a:rPr>
              <a:t>             a.  Statistical </a:t>
            </a:r>
            <a:r>
              <a:rPr lang="de-DE" sz="2800" dirty="0" err="1">
                <a:latin typeface="+mn-lt"/>
              </a:rPr>
              <a:t>properties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of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the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data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set</a:t>
            </a:r>
            <a:endParaRPr lang="de-DE" sz="2800" dirty="0">
              <a:latin typeface="+mn-lt"/>
            </a:endParaRPr>
          </a:p>
          <a:p>
            <a:pPr marL="0" indent="0">
              <a:buNone/>
            </a:pPr>
            <a:r>
              <a:rPr lang="de-DE" sz="2800" dirty="0">
                <a:latin typeface="+mn-lt"/>
              </a:rPr>
              <a:t>             b.  </a:t>
            </a:r>
            <a:r>
              <a:rPr lang="de-DE" sz="2800" dirty="0" err="1">
                <a:latin typeface="+mn-lt"/>
              </a:rPr>
              <a:t>Identification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of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subgroups</a:t>
            </a:r>
            <a:endParaRPr lang="de-DE" sz="2800" dirty="0">
              <a:latin typeface="+mn-lt"/>
            </a:endParaRPr>
          </a:p>
          <a:p>
            <a:pPr marL="0" indent="0">
              <a:buNone/>
            </a:pPr>
            <a:r>
              <a:rPr lang="de-DE" sz="2800" dirty="0">
                <a:latin typeface="+mn-lt"/>
              </a:rPr>
              <a:t>             c.  Time </a:t>
            </a:r>
            <a:r>
              <a:rPr lang="de-DE" sz="2800" dirty="0" err="1">
                <a:latin typeface="+mn-lt"/>
              </a:rPr>
              <a:t>series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properties</a:t>
            </a:r>
            <a:endParaRPr lang="de-DE" sz="2800" dirty="0">
              <a:latin typeface="+mn-lt"/>
            </a:endParaRPr>
          </a:p>
          <a:p>
            <a:endParaRPr lang="de-DE" sz="2800" dirty="0">
              <a:latin typeface="+mn-lt"/>
            </a:endParaRPr>
          </a:p>
          <a:p>
            <a:pPr marL="0" indent="0">
              <a:buNone/>
            </a:pPr>
            <a:r>
              <a:rPr lang="de-DE" sz="2800" noProof="0" dirty="0">
                <a:latin typeface="+mn-lt"/>
              </a:rPr>
              <a:t>3.   </a:t>
            </a:r>
            <a:r>
              <a:rPr lang="de-DE" sz="2800" noProof="0" dirty="0" err="1">
                <a:latin typeface="+mn-lt"/>
              </a:rPr>
              <a:t>Dimensionality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reduction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techniques</a:t>
            </a:r>
            <a:endParaRPr lang="de-DE" sz="2800" noProof="0" dirty="0">
              <a:latin typeface="+mn-lt"/>
            </a:endParaRPr>
          </a:p>
          <a:p>
            <a:endParaRPr lang="de-DE" sz="2800" noProof="0" dirty="0">
              <a:latin typeface="+mn-lt"/>
            </a:endParaRPr>
          </a:p>
          <a:p>
            <a:pPr marL="0" indent="0">
              <a:buNone/>
            </a:pPr>
            <a:r>
              <a:rPr lang="de-DE" sz="2800" noProof="0" dirty="0">
                <a:latin typeface="+mn-lt"/>
              </a:rPr>
              <a:t>4.   Web </a:t>
            </a:r>
            <a:r>
              <a:rPr lang="de-DE" sz="2800" noProof="0" dirty="0" err="1">
                <a:latin typeface="+mn-lt"/>
              </a:rPr>
              <a:t>app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development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framework</a:t>
            </a:r>
            <a:endParaRPr lang="de-DE" sz="28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A1398BF-DFBF-44E7-9DCE-C51BEC3559DA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Overview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</p:spTree>
    <p:extLst>
      <p:ext uri="{BB962C8B-B14F-4D97-AF65-F5344CB8AC3E}">
        <p14:creationId xmlns:p14="http://schemas.microsoft.com/office/powerpoint/2010/main" val="37688791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1.  </a:t>
            </a:r>
            <a:r>
              <a:rPr lang="de-DE" sz="4000" noProof="0" dirty="0" err="1">
                <a:latin typeface="+mn-lt"/>
              </a:rPr>
              <a:t>Accessing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the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data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set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 err="1"/>
              <a:t>Using</a:t>
            </a:r>
            <a:r>
              <a:rPr lang="de-DE" dirty="0"/>
              <a:t> P</a:t>
            </a:r>
            <a:r>
              <a:rPr lang="de-DE" sz="2400" noProof="0" dirty="0" err="1"/>
              <a:t>anda-df</a:t>
            </a:r>
            <a:r>
              <a:rPr lang="de-DE" dirty="0"/>
              <a:t> in </a:t>
            </a:r>
            <a:r>
              <a:rPr lang="de-DE" dirty="0" err="1"/>
              <a:t>combina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sz="2400" noProof="0" dirty="0"/>
              <a:t> </a:t>
            </a:r>
            <a:r>
              <a:rPr lang="de-DE" dirty="0"/>
              <a:t>O</a:t>
            </a:r>
            <a:r>
              <a:rPr lang="de-DE" sz="2400" noProof="0" dirty="0" err="1"/>
              <a:t>bject</a:t>
            </a:r>
            <a:r>
              <a:rPr lang="de-DE" dirty="0"/>
              <a:t>-O</a:t>
            </a:r>
            <a:r>
              <a:rPr lang="de-DE" sz="2400" noProof="0" dirty="0" err="1"/>
              <a:t>riented</a:t>
            </a:r>
            <a:r>
              <a:rPr lang="de-DE" sz="2400" noProof="0" dirty="0"/>
              <a:t> </a:t>
            </a:r>
            <a:r>
              <a:rPr lang="de-DE" dirty="0"/>
              <a:t>C</a:t>
            </a:r>
            <a:r>
              <a:rPr lang="de-DE" sz="2400" noProof="0" dirty="0" err="1"/>
              <a:t>lasses</a:t>
            </a:r>
            <a:r>
              <a:rPr lang="de-DE" sz="2400" noProof="0" dirty="0"/>
              <a:t> </a:t>
            </a:r>
            <a:r>
              <a:rPr lang="de-DE" sz="2400" noProof="0" dirty="0" err="1"/>
              <a:t>for</a:t>
            </a:r>
            <a:r>
              <a:rPr lang="de-DE" sz="2400" noProof="0" dirty="0"/>
              <a:t> </a:t>
            </a:r>
            <a:r>
              <a:rPr lang="de-DE" sz="2400" noProof="0" dirty="0" err="1"/>
              <a:t>each</a:t>
            </a:r>
            <a:r>
              <a:rPr lang="de-DE" sz="2400" noProof="0" dirty="0"/>
              <a:t> </a:t>
            </a:r>
            <a:r>
              <a:rPr lang="de-DE" sz="2400" noProof="0" dirty="0" err="1"/>
              <a:t>patient</a:t>
            </a:r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1.  Accessing the data set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79B5C8-6675-4AAE-B546-68513FA74B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3370" y="1927494"/>
            <a:ext cx="9211601" cy="4261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163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2.  Manual </a:t>
            </a:r>
            <a:r>
              <a:rPr lang="de-DE" sz="4000" noProof="0" dirty="0" err="1">
                <a:latin typeface="+mn-lt"/>
              </a:rPr>
              <a:t>data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explor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904421"/>
            <a:ext cx="10515600" cy="369336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800" dirty="0">
                <a:latin typeface="+mn-lt"/>
              </a:rPr>
              <a:t>a) </a:t>
            </a:r>
            <a:r>
              <a:rPr lang="de-DE" dirty="0">
                <a:latin typeface="+mn-lt"/>
              </a:rPr>
              <a:t>Statistical </a:t>
            </a:r>
            <a:r>
              <a:rPr lang="de-DE" dirty="0" err="1">
                <a:latin typeface="+mn-lt"/>
              </a:rPr>
              <a:t>properties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of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h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data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set</a:t>
            </a:r>
            <a:endParaRPr lang="de-DE" dirty="0">
              <a:latin typeface="+mn-lt"/>
            </a:endParaRPr>
          </a:p>
          <a:p>
            <a:pPr marL="0" indent="0">
              <a:buNone/>
            </a:pPr>
            <a:r>
              <a:rPr lang="de-DE" dirty="0">
                <a:latin typeface="+mn-lt"/>
              </a:rPr>
              <a:t>       Analysis </a:t>
            </a:r>
            <a:r>
              <a:rPr lang="de-DE" dirty="0" err="1">
                <a:latin typeface="+mn-lt"/>
              </a:rPr>
              <a:t>from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he</a:t>
            </a:r>
            <a:r>
              <a:rPr lang="de-DE" dirty="0">
                <a:latin typeface="+mn-lt"/>
              </a:rPr>
              <a:t> original Paper[1] was </a:t>
            </a:r>
            <a:r>
              <a:rPr lang="de-DE" dirty="0" err="1">
                <a:latin typeface="+mn-lt"/>
              </a:rPr>
              <a:t>verified</a:t>
            </a:r>
            <a:endParaRPr lang="de-DE" dirty="0">
              <a:latin typeface="+mn-lt"/>
            </a:endParaRPr>
          </a:p>
          <a:p>
            <a:endParaRPr lang="de-DE" sz="240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2. 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4F0491E-0451-48E0-8370-A198FDAAF1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608" y="1936296"/>
            <a:ext cx="9056914" cy="3329028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229A3CB8-9EA1-4482-9415-88222C6B1F79}"/>
              </a:ext>
            </a:extLst>
          </p:cNvPr>
          <p:cNvSpPr txBox="1"/>
          <p:nvPr/>
        </p:nvSpPr>
        <p:spPr>
          <a:xfrm>
            <a:off x="838200" y="5775715"/>
            <a:ext cx="609872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[1] https://physionet.org/content/challenge-2019/1.0.0/</a:t>
            </a:r>
          </a:p>
        </p:txBody>
      </p:sp>
    </p:spTree>
    <p:extLst>
      <p:ext uri="{BB962C8B-B14F-4D97-AF65-F5344CB8AC3E}">
        <p14:creationId xmlns:p14="http://schemas.microsoft.com/office/powerpoint/2010/main" val="37551144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2.  Manual </a:t>
            </a:r>
            <a:r>
              <a:rPr lang="de-DE" sz="4000" noProof="0" dirty="0" err="1">
                <a:latin typeface="+mn-lt"/>
              </a:rPr>
              <a:t>data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explor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>
                <a:latin typeface="+mn-lt"/>
              </a:rPr>
              <a:t>a) Statistical </a:t>
            </a:r>
            <a:r>
              <a:rPr lang="de-DE" dirty="0" err="1">
                <a:latin typeface="+mn-lt"/>
              </a:rPr>
              <a:t>properties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of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h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data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set</a:t>
            </a:r>
            <a:endParaRPr lang="de-DE" dirty="0">
              <a:latin typeface="+mn-lt"/>
            </a:endParaRPr>
          </a:p>
          <a:p>
            <a:pPr marL="0" indent="0">
              <a:buNone/>
            </a:pPr>
            <a:r>
              <a:rPr lang="de-DE" dirty="0">
                <a:latin typeface="+mn-lt"/>
              </a:rPr>
              <a:t>     Definition </a:t>
            </a:r>
            <a:r>
              <a:rPr lang="de-DE" dirty="0" err="1">
                <a:latin typeface="+mn-lt"/>
              </a:rPr>
              <a:t>of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used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methods</a:t>
            </a:r>
            <a:endParaRPr lang="de-DE" dirty="0">
              <a:latin typeface="+mn-lt"/>
            </a:endParaRPr>
          </a:p>
          <a:p>
            <a:endParaRPr lang="de-DE" sz="2400" dirty="0">
              <a:latin typeface="+mn-lt"/>
            </a:endParaRPr>
          </a:p>
          <a:p>
            <a:pPr marL="0" indent="0">
              <a:buNone/>
            </a:pPr>
            <a:endParaRPr lang="de-DE" sz="240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2. 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1928CA4-38F6-42ED-87C6-02E3D0C305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0" y="2207497"/>
            <a:ext cx="5105400" cy="390525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9AC8D7E-3EE4-443F-B917-477AD5DB48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207497"/>
            <a:ext cx="4838700" cy="3905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5135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2.  Manual </a:t>
            </a:r>
            <a:r>
              <a:rPr lang="de-DE" sz="4000" noProof="0" dirty="0" err="1">
                <a:latin typeface="+mn-lt"/>
              </a:rPr>
              <a:t>data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explor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4225" y="1005361"/>
            <a:ext cx="10515600" cy="369336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>
                <a:latin typeface="+mn-lt"/>
              </a:rPr>
              <a:t>a) Statistical </a:t>
            </a:r>
            <a:r>
              <a:rPr lang="de-DE" dirty="0" err="1">
                <a:latin typeface="+mn-lt"/>
              </a:rPr>
              <a:t>properties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of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h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data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set</a:t>
            </a:r>
            <a:endParaRPr lang="de-DE" dirty="0">
              <a:latin typeface="+mn-lt"/>
            </a:endParaRPr>
          </a:p>
          <a:p>
            <a:pPr marL="0" indent="0">
              <a:buNone/>
            </a:pPr>
            <a:r>
              <a:rPr lang="de-DE" dirty="0"/>
              <a:t>     </a:t>
            </a:r>
            <a:r>
              <a:rPr lang="de-DE" dirty="0" err="1"/>
              <a:t>Examplary</a:t>
            </a:r>
            <a:r>
              <a:rPr lang="de-DE" dirty="0"/>
              <a:t> Analysis </a:t>
            </a:r>
            <a:r>
              <a:rPr lang="de-DE" dirty="0" err="1"/>
              <a:t>of</a:t>
            </a:r>
            <a:r>
              <a:rPr lang="de-DE" dirty="0"/>
              <a:t> Features in Dataset A</a:t>
            </a:r>
            <a:r>
              <a:rPr lang="de-DE" sz="2400" noProof="0" dirty="0"/>
              <a:t>:</a:t>
            </a:r>
          </a:p>
          <a:p>
            <a:endParaRPr lang="de-DE" sz="2400" dirty="0">
              <a:latin typeface="+mn-lt"/>
            </a:endParaRPr>
          </a:p>
          <a:p>
            <a:pPr marL="0" indent="0">
              <a:buNone/>
            </a:pPr>
            <a:endParaRPr lang="de-DE" sz="240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2. 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3B04DFA-657C-4B37-9D55-0D3431BD5990}"/>
              </a:ext>
            </a:extLst>
          </p:cNvPr>
          <p:cNvSpPr txBox="1"/>
          <p:nvPr/>
        </p:nvSpPr>
        <p:spPr>
          <a:xfrm>
            <a:off x="630464" y="1985602"/>
            <a:ext cx="6115050" cy="4370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R [Heart Rate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4712', 2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8574', 28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84.98526444873023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61189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2Sat [O2 Saturation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14401', 2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0001', 10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97.26568772153938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95079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555DEBF-EDD2-46B1-AB37-F58856F1216A}"/>
              </a:ext>
            </a:extLst>
          </p:cNvPr>
          <p:cNvSpPr txBox="1"/>
          <p:nvPr/>
        </p:nvSpPr>
        <p:spPr>
          <a:xfrm>
            <a:off x="6096000" y="1985602"/>
            <a:ext cx="6096000" cy="50699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 [Temperature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2421', 20.9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15104', 42.22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37.02673699236573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523314 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4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BP [Systolic BP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14968', 22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5749', 281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120.96235945816058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120201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6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2713464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2.  Manual </a:t>
            </a:r>
            <a:r>
              <a:rPr lang="de-DE" sz="4000" noProof="0" dirty="0" err="1">
                <a:latin typeface="+mn-lt"/>
              </a:rPr>
              <a:t>data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explor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776205"/>
            <a:ext cx="10515600" cy="3693361"/>
          </a:xfrm>
        </p:spPr>
        <p:txBody>
          <a:bodyPr>
            <a:normAutofit/>
          </a:bodyPr>
          <a:lstStyle/>
          <a:p>
            <a:endParaRPr lang="de-DE" sz="2400" dirty="0">
              <a:latin typeface="+mn-lt"/>
            </a:endParaRPr>
          </a:p>
          <a:p>
            <a:pPr marL="0" indent="0">
              <a:buNone/>
            </a:pPr>
            <a:r>
              <a:rPr lang="de-DE" sz="2400" dirty="0">
                <a:latin typeface="+mn-lt"/>
              </a:rPr>
              <a:t>b)  </a:t>
            </a:r>
            <a:r>
              <a:rPr lang="de-DE" sz="2400" dirty="0" err="1">
                <a:latin typeface="+mn-lt"/>
              </a:rPr>
              <a:t>Identification</a:t>
            </a:r>
            <a:r>
              <a:rPr lang="de-DE" sz="2400" dirty="0">
                <a:latin typeface="+mn-lt"/>
              </a:rPr>
              <a:t> </a:t>
            </a:r>
            <a:r>
              <a:rPr lang="de-DE" sz="2400" dirty="0" err="1">
                <a:latin typeface="+mn-lt"/>
              </a:rPr>
              <a:t>of</a:t>
            </a:r>
            <a:r>
              <a:rPr lang="de-DE" sz="2400" dirty="0">
                <a:latin typeface="+mn-lt"/>
              </a:rPr>
              <a:t> </a:t>
            </a:r>
            <a:r>
              <a:rPr lang="de-DE" dirty="0">
                <a:latin typeface="+mn-lt"/>
              </a:rPr>
              <a:t>S</a:t>
            </a:r>
            <a:r>
              <a:rPr lang="de-DE" sz="2400" dirty="0">
                <a:latin typeface="+mn-lt"/>
              </a:rPr>
              <a:t>ubgroups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2. 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E496F36-9ADE-426A-955D-8FA2973D34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901" y="2795929"/>
            <a:ext cx="4895850" cy="49530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A1FFBC07-C270-4185-B94E-D2070AD55C12}"/>
              </a:ext>
            </a:extLst>
          </p:cNvPr>
          <p:cNvSpPr txBox="1"/>
          <p:nvPr/>
        </p:nvSpPr>
        <p:spPr>
          <a:xfrm>
            <a:off x="1104901" y="2196101"/>
            <a:ext cx="60987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 err="1"/>
              <a:t>Based</a:t>
            </a:r>
            <a:r>
              <a:rPr lang="de-DE" sz="2000" dirty="0"/>
              <a:t> on Ag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3D5D3DB-11BB-4D92-A8C3-30392AC6D1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4901" y="4261686"/>
            <a:ext cx="3609975" cy="466725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5E876C9E-7EAD-47C0-BF32-5BA5FC834706}"/>
              </a:ext>
            </a:extLst>
          </p:cNvPr>
          <p:cNvSpPr txBox="1"/>
          <p:nvPr/>
        </p:nvSpPr>
        <p:spPr>
          <a:xfrm>
            <a:off x="1104901" y="3640488"/>
            <a:ext cx="60987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noProof="0" dirty="0" err="1"/>
              <a:t>Based</a:t>
            </a:r>
            <a:r>
              <a:rPr lang="de-DE" sz="2000" noProof="0" dirty="0"/>
              <a:t> on Gender</a:t>
            </a:r>
            <a:endParaRPr lang="de-DE" sz="2000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1858CE87-1C42-4692-85F9-6BC92A1582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4901" y="5557559"/>
            <a:ext cx="4876800" cy="466725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3D82ED56-65F3-46D0-BDC7-96D39B4DC6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96268" y="1426799"/>
            <a:ext cx="4148079" cy="1602892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9C230EDC-C4C3-4CD5-8A0F-952DC881E4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50994" y="4657630"/>
            <a:ext cx="4238625" cy="1457251"/>
          </a:xfrm>
          <a:prstGeom prst="rect">
            <a:avLst/>
          </a:prstGeom>
        </p:spPr>
      </p:pic>
      <p:sp>
        <p:nvSpPr>
          <p:cNvPr id="18" name="Pfeil: nach unten 17">
            <a:extLst>
              <a:ext uri="{FF2B5EF4-FFF2-40B4-BE49-F238E27FC236}">
                <a16:creationId xmlns:a16="http://schemas.microsoft.com/office/drawing/2014/main" id="{455C3277-0E2D-45AC-8D3F-C16519A75741}"/>
              </a:ext>
            </a:extLst>
          </p:cNvPr>
          <p:cNvSpPr/>
          <p:nvPr/>
        </p:nvSpPr>
        <p:spPr>
          <a:xfrm>
            <a:off x="8555788" y="3244441"/>
            <a:ext cx="1736035" cy="1269220"/>
          </a:xfrm>
          <a:prstGeom prst="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800" noProof="0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A4F2E55-C177-4E81-9EE6-C8F6A06A2942}"/>
              </a:ext>
            </a:extLst>
          </p:cNvPr>
          <p:cNvSpPr txBox="1"/>
          <p:nvPr/>
        </p:nvSpPr>
        <p:spPr>
          <a:xfrm>
            <a:off x="1104901" y="5034821"/>
            <a:ext cx="60987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 err="1"/>
              <a:t>Etc</a:t>
            </a:r>
            <a:r>
              <a:rPr lang="de-DE" sz="2000" dirty="0"/>
              <a:t>: </a:t>
            </a:r>
            <a:r>
              <a:rPr lang="de-DE" sz="2000" dirty="0" err="1"/>
              <a:t>NaN</a:t>
            </a:r>
            <a:endParaRPr lang="de-DE" sz="2000" noProof="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BA8F44DD-7156-4D9A-83B4-158C698F7ACD}"/>
              </a:ext>
            </a:extLst>
          </p:cNvPr>
          <p:cNvSpPr txBox="1"/>
          <p:nvPr/>
        </p:nvSpPr>
        <p:spPr>
          <a:xfrm>
            <a:off x="6374445" y="3705433"/>
            <a:ext cx="60987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367097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2.  Manual </a:t>
            </a:r>
            <a:r>
              <a:rPr lang="de-DE" sz="4000" noProof="0" dirty="0" err="1">
                <a:latin typeface="+mn-lt"/>
              </a:rPr>
              <a:t>data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explor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endParaRPr lang="de-DE" sz="2400" dirty="0">
              <a:latin typeface="+mn-lt"/>
            </a:endParaRPr>
          </a:p>
          <a:p>
            <a:pPr marL="0" indent="0">
              <a:buNone/>
            </a:pPr>
            <a:r>
              <a:rPr lang="de-DE" sz="2400" dirty="0">
                <a:latin typeface="+mn-lt"/>
              </a:rPr>
              <a:t>c)  Time </a:t>
            </a:r>
            <a:r>
              <a:rPr lang="de-DE" dirty="0">
                <a:latin typeface="+mn-lt"/>
              </a:rPr>
              <a:t>S</a:t>
            </a:r>
            <a:r>
              <a:rPr lang="de-DE" sz="2400" dirty="0">
                <a:latin typeface="+mn-lt"/>
              </a:rPr>
              <a:t>eries </a:t>
            </a:r>
            <a:r>
              <a:rPr lang="de-DE" dirty="0">
                <a:latin typeface="+mn-lt"/>
              </a:rPr>
              <a:t>P</a:t>
            </a:r>
            <a:r>
              <a:rPr lang="de-DE" sz="2400" dirty="0">
                <a:latin typeface="+mn-lt"/>
              </a:rPr>
              <a:t>roperties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2. 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BC8C670-B409-42F2-AA85-1BF30CED204C}"/>
              </a:ext>
            </a:extLst>
          </p:cNvPr>
          <p:cNvSpPr txBox="1"/>
          <p:nvPr/>
        </p:nvSpPr>
        <p:spPr>
          <a:xfrm>
            <a:off x="1203648" y="4475037"/>
            <a:ext cx="6108831" cy="21346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amount of timeseries in all data:  38.857</a:t>
            </a:r>
            <a:endParaRPr lang="de-DE" sz="2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amount of timeseries in all data:  8</a:t>
            </a:r>
            <a:endParaRPr lang="de-DE" sz="2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amount of timeseries in all data:  336</a:t>
            </a:r>
            <a:endParaRPr lang="de-DE" sz="2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ount of timeseries in all data:  790215</a:t>
            </a:r>
            <a:endParaRPr lang="de-DE" sz="2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 </a:t>
            </a:r>
            <a:endParaRPr lang="de-DE" sz="2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E3783F1-9656-4A38-8EE2-12FCA23A0F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7430" y="2847098"/>
            <a:ext cx="6457950" cy="139065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9E24C095-7EF9-46DB-BC8F-BB5FA09B8E95}"/>
              </a:ext>
            </a:extLst>
          </p:cNvPr>
          <p:cNvSpPr txBox="1"/>
          <p:nvPr/>
        </p:nvSpPr>
        <p:spPr>
          <a:xfrm>
            <a:off x="1197430" y="1991173"/>
            <a:ext cx="60987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 err="1"/>
              <a:t>Amount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Timeseries</a:t>
            </a:r>
            <a:r>
              <a:rPr lang="de-DE" sz="2000" dirty="0"/>
              <a:t> in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complete</a:t>
            </a:r>
            <a:r>
              <a:rPr lang="de-DE" sz="2000" dirty="0"/>
              <a:t> Dataset A</a:t>
            </a:r>
            <a:r>
              <a:rPr lang="de-DE" sz="2000" noProof="0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6242684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3.  </a:t>
            </a:r>
            <a:r>
              <a:rPr lang="de-DE" sz="4000" noProof="0" dirty="0" err="1">
                <a:latin typeface="+mn-lt"/>
              </a:rPr>
              <a:t>Dimensionality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Reduction</a:t>
            </a:r>
            <a:r>
              <a:rPr lang="de-DE" sz="4000" noProof="0" dirty="0">
                <a:latin typeface="+mn-lt"/>
              </a:rPr>
              <a:t> </a:t>
            </a:r>
            <a:r>
              <a:rPr lang="de-DE" dirty="0">
                <a:latin typeface="+mn-lt"/>
              </a:rPr>
              <a:t>T</a:t>
            </a:r>
            <a:r>
              <a:rPr lang="de-DE" sz="4000" noProof="0" dirty="0" err="1">
                <a:latin typeface="+mn-lt"/>
              </a:rPr>
              <a:t>echniques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4320" y="1880760"/>
            <a:ext cx="5379720" cy="2139660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spcAft>
                <a:spcPts val="800"/>
              </a:spcAft>
              <a:buNone/>
            </a:pPr>
            <a:r>
              <a:rPr lang="de-DE" sz="2000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Why</a:t>
            </a:r>
            <a:r>
              <a:rPr lang="de-DE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s</a:t>
            </a:r>
            <a:r>
              <a:rPr lang="de-DE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immensionality</a:t>
            </a:r>
            <a:r>
              <a:rPr lang="de-DE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Reduction</a:t>
            </a:r>
            <a:r>
              <a:rPr lang="de-DE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needed</a:t>
            </a:r>
            <a:r>
              <a:rPr lang="de-DE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</a:p>
          <a:p>
            <a:pPr marL="0" indent="0">
              <a:lnSpc>
                <a:spcPct val="150000"/>
              </a:lnSpc>
              <a:spcAft>
                <a:spcPts val="800"/>
              </a:spcAft>
              <a:buNone/>
            </a:pPr>
            <a:r>
              <a:rPr lang="en-US" sz="1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oo many input features (41 dimensions) lead to</a:t>
            </a:r>
          </a:p>
          <a:p>
            <a:pPr fontAlgn="base">
              <a:lnSpc>
                <a:spcPct val="150000"/>
              </a:lnSpc>
              <a:spcAft>
                <a:spcPts val="1440"/>
              </a:spcAft>
            </a:pPr>
            <a:r>
              <a:rPr lang="en-US" sz="1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Challenges in visualizing projections</a:t>
            </a:r>
          </a:p>
          <a:p>
            <a:pPr fontAlgn="base">
              <a:lnSpc>
                <a:spcPct val="150000"/>
              </a:lnSpc>
              <a:spcAft>
                <a:spcPts val="1440"/>
              </a:spcAft>
            </a:pPr>
            <a:r>
              <a:rPr lang="en-US" sz="1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Challenges in making a predictive model</a:t>
            </a:r>
          </a:p>
          <a:p>
            <a:pPr marL="0" indent="0" fontAlgn="base">
              <a:lnSpc>
                <a:spcPct val="150000"/>
              </a:lnSpc>
              <a:spcAft>
                <a:spcPts val="1440"/>
              </a:spcAft>
              <a:buNone/>
            </a:pPr>
            <a:endParaRPr lang="en-US" sz="1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fontAlgn="base">
              <a:lnSpc>
                <a:spcPts val="1800"/>
              </a:lnSpc>
              <a:spcAft>
                <a:spcPts val="1440"/>
              </a:spcAft>
              <a:buNone/>
            </a:pPr>
            <a:endParaRPr lang="en-US" sz="1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fontAlgn="base">
              <a:lnSpc>
                <a:spcPts val="1800"/>
              </a:lnSpc>
              <a:spcAft>
                <a:spcPts val="1440"/>
              </a:spcAft>
              <a:buNone/>
            </a:pPr>
            <a:endParaRPr lang="de-DE" sz="20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3.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imensionality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reduction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echniques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0928582-53E9-4ECD-B240-345B6E292017}"/>
              </a:ext>
            </a:extLst>
          </p:cNvPr>
          <p:cNvSpPr txBox="1"/>
          <p:nvPr/>
        </p:nvSpPr>
        <p:spPr>
          <a:xfrm>
            <a:off x="5974080" y="1862400"/>
            <a:ext cx="6355080" cy="39940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fontAlgn="base">
              <a:lnSpc>
                <a:spcPct val="150000"/>
              </a:lnSpc>
              <a:spcAft>
                <a:spcPts val="1440"/>
              </a:spcAft>
              <a:buNone/>
            </a:pPr>
            <a:r>
              <a:rPr lang="de-DE" sz="2000" spc="-5" dirty="0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de-DE" sz="2000" spc="-5" dirty="0" err="1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What</a:t>
            </a:r>
            <a:r>
              <a:rPr lang="de-DE" sz="2000" spc="-5" dirty="0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spc="-5" dirty="0" err="1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re</a:t>
            </a:r>
            <a:r>
              <a:rPr lang="de-DE" sz="2000" spc="-5" dirty="0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spc="-5" dirty="0" err="1">
                <a:solidFill>
                  <a:srgbClr val="292929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ome</a:t>
            </a:r>
            <a:r>
              <a:rPr lang="de-DE" sz="2000" spc="-5" dirty="0">
                <a:solidFill>
                  <a:srgbClr val="292929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e</a:t>
            </a:r>
            <a:r>
              <a:rPr lang="de-DE" sz="2000" spc="-5" dirty="0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nefits? </a:t>
            </a:r>
          </a:p>
          <a:p>
            <a:pPr marL="285750" indent="-285750" fontAlgn="base">
              <a:lnSpc>
                <a:spcPct val="150000"/>
              </a:lnSpc>
              <a:spcAft>
                <a:spcPts val="1440"/>
              </a:spcAft>
              <a:buFont typeface="Arial" panose="020B0604020202020204" pitchFamily="34" charset="0"/>
              <a:buChar char="•"/>
            </a:pP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otentially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ncrease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understanding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underlying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lusters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in a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ataset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istribution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endParaRPr lang="de-DE" sz="1800" spc="-5" dirty="0">
              <a:solidFill>
                <a:srgbClr val="292929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fontAlgn="base">
              <a:lnSpc>
                <a:spcPct val="150000"/>
              </a:lnSpc>
              <a:spcAft>
                <a:spcPts val="1440"/>
              </a:spcAft>
              <a:buFont typeface="Arial" panose="020B0604020202020204" pitchFamily="34" charset="0"/>
              <a:buChar char="•"/>
            </a:pP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Retain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 „valid“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tructure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/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nformation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285750" indent="-285750" fontAlgn="base">
              <a:lnSpc>
                <a:spcPct val="150000"/>
              </a:lnSpc>
              <a:spcAft>
                <a:spcPts val="1440"/>
              </a:spcAft>
              <a:buFont typeface="Arial" panose="020B0604020202020204" pitchFamily="34" charset="0"/>
              <a:buChar char="•"/>
            </a:pPr>
            <a:r>
              <a:rPr lang="en-US" sz="1800" spc="-5" dirty="0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Helps in data compression, hence reduced storage space and computation time</a:t>
            </a:r>
          </a:p>
          <a:p>
            <a:pPr marL="285750" indent="-285750" fontAlgn="base">
              <a:lnSpc>
                <a:spcPts val="1800"/>
              </a:lnSpc>
              <a:spcAft>
                <a:spcPts val="1440"/>
              </a:spcAft>
              <a:buFont typeface="Arial" panose="020B0604020202020204" pitchFamily="34" charset="0"/>
              <a:buChar char="•"/>
            </a:pPr>
            <a:endParaRPr lang="de-DE" sz="1800" spc="-5" dirty="0">
              <a:solidFill>
                <a:srgbClr val="292929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fontAlgn="base">
              <a:lnSpc>
                <a:spcPts val="1800"/>
              </a:lnSpc>
              <a:spcAft>
                <a:spcPts val="1440"/>
              </a:spcAft>
              <a:buFont typeface="Arial" panose="020B0604020202020204" pitchFamily="34" charset="0"/>
              <a:buChar char="•"/>
            </a:pPr>
            <a:endParaRPr lang="en-US" sz="1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9489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00</Words>
  <Application>Microsoft Office PowerPoint</Application>
  <PresentationFormat>Breitbild</PresentationFormat>
  <Paragraphs>162</Paragraphs>
  <Slides>15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3" baseType="lpstr">
      <vt:lpstr>Arial</vt:lpstr>
      <vt:lpstr>Calibri</vt:lpstr>
      <vt:lpstr>Cambria</vt:lpstr>
      <vt:lpstr>Cambria Math</vt:lpstr>
      <vt:lpstr>Frutiger Next LT W1G</vt:lpstr>
      <vt:lpstr>Symbol</vt:lpstr>
      <vt:lpstr>Wingdings</vt:lpstr>
      <vt:lpstr>Office</vt:lpstr>
      <vt:lpstr>      Data Challenges  Task 1: PhysioNet Challenge  Group 8</vt:lpstr>
      <vt:lpstr>Overview</vt:lpstr>
      <vt:lpstr>1.  Accessing the data set</vt:lpstr>
      <vt:lpstr>2.  Manual data exploration</vt:lpstr>
      <vt:lpstr>2.  Manual data exploration</vt:lpstr>
      <vt:lpstr>2.  Manual data exploration</vt:lpstr>
      <vt:lpstr>2.  Manual data exploration</vt:lpstr>
      <vt:lpstr>2.  Manual data exploration</vt:lpstr>
      <vt:lpstr>3.  Dimensionality Reduction Techniques</vt:lpstr>
      <vt:lpstr>3.  Dimensionality Reduction Techniques</vt:lpstr>
      <vt:lpstr>3.  Dimensionality Reduction Techniques</vt:lpstr>
      <vt:lpstr>4. Web app development framework</vt:lpstr>
      <vt:lpstr>4. Web app development framework</vt:lpstr>
      <vt:lpstr>Outlook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Threat Intelligence –  Analysis of the State of the Art</dc:title>
  <dc:creator>vaj45322</dc:creator>
  <cp:lastModifiedBy>e6zn2x5md6@goetheuniversitaet.onmicrosoft.com</cp:lastModifiedBy>
  <cp:revision>80</cp:revision>
  <dcterms:created xsi:type="dcterms:W3CDTF">2021-06-28T09:55:05Z</dcterms:created>
  <dcterms:modified xsi:type="dcterms:W3CDTF">2021-11-01T20:55:55Z</dcterms:modified>
</cp:coreProperties>
</file>